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7"/>
  </p:notesMasterIdLst>
  <p:sldIdLst>
    <p:sldId id="264" r:id="rId2"/>
    <p:sldId id="272" r:id="rId3"/>
    <p:sldId id="269" r:id="rId4"/>
    <p:sldId id="268" r:id="rId5"/>
    <p:sldId id="267" r:id="rId6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1199" autoAdjust="0"/>
  </p:normalViewPr>
  <p:slideViewPr>
    <p:cSldViewPr snapToGrid="0">
      <p:cViewPr varScale="1">
        <p:scale>
          <a:sx n="72" d="100"/>
          <a:sy n="72" d="100"/>
        </p:scale>
        <p:origin x="1782" y="84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5" Type="http://customschemas.google.com/relationships/presentationmetadata" Target="metadata"/><Relationship Id="rId19" Type="http://schemas.openxmlformats.org/officeDocument/2006/relationships/tableStyles" Target="tableStyles.xml"/><Relationship Id="rId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6221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912142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3" y="2097522"/>
            <a:ext cx="8455511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4000" dirty="0"/>
              <a:t>Google Play Apps Analysis- </a:t>
            </a:r>
            <a:br>
              <a:rPr lang="en-US" sz="4000" dirty="0"/>
            </a:br>
            <a:r>
              <a:rPr lang="en-US" dirty="0"/>
              <a:t>Non-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3" y="4996624"/>
            <a:ext cx="493553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</a:t>
            </a:r>
            <a:r>
              <a:rPr lang="en-US" sz="16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1-15-2021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Xiangning Bu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08D911-9CD9-466C-92B3-0056B3CA0173}"/>
              </a:ext>
            </a:extLst>
          </p:cNvPr>
          <p:cNvSpPr/>
          <p:nvPr/>
        </p:nvSpPr>
        <p:spPr>
          <a:xfrm>
            <a:off x="3617772" y="20792"/>
            <a:ext cx="5319132" cy="8920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chart&#10;&#10;Description automatically generated">
            <a:extLst>
              <a:ext uri="{FF2B5EF4-FFF2-40B4-BE49-F238E27FC236}">
                <a16:creationId xmlns:a16="http://schemas.microsoft.com/office/drawing/2014/main" id="{4F3F84EA-FCBF-40BF-9455-628DBA09862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430661" y="4117"/>
            <a:ext cx="5522544" cy="908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8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E3B86A-3BD2-4677-80AC-64DE1C659833}"/>
              </a:ext>
            </a:extLst>
          </p:cNvPr>
          <p:cNvSpPr txBox="1"/>
          <p:nvPr/>
        </p:nvSpPr>
        <p:spPr>
          <a:xfrm>
            <a:off x="548136" y="-14602"/>
            <a:ext cx="81832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dk1"/>
                </a:solidFill>
              </a:rPr>
              <a:t>What are the best market strategies for google play apps(price, size, or category)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6A0A9C0-DEF2-4B0D-B413-286BAB118D9C}"/>
              </a:ext>
            </a:extLst>
          </p:cNvPr>
          <p:cNvSpPr/>
          <p:nvPr/>
        </p:nvSpPr>
        <p:spPr>
          <a:xfrm>
            <a:off x="958887" y="1144460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rket popularity :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Installs, rating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30FFDE-92E6-4537-93EB-0B06C80E059D}"/>
              </a:ext>
            </a:extLst>
          </p:cNvPr>
          <p:cNvSpPr/>
          <p:nvPr/>
        </p:nvSpPr>
        <p:spPr>
          <a:xfrm>
            <a:off x="4378106" y="1144460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hich apps has the most installations, ratings? 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Are they the same?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A68A24-4BD0-4B9E-B5A3-066575AD10AA}"/>
              </a:ext>
            </a:extLst>
          </p:cNvPr>
          <p:cNvSpPr/>
          <p:nvPr/>
        </p:nvSpPr>
        <p:spPr>
          <a:xfrm>
            <a:off x="974506" y="2852194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dk1"/>
                </a:solidFill>
              </a:rPr>
              <a:t>Market strategy : </a:t>
            </a:r>
          </a:p>
          <a:p>
            <a:pPr algn="ctr"/>
            <a:r>
              <a:rPr lang="en-US">
                <a:solidFill>
                  <a:schemeClr val="dk1"/>
                </a:solidFill>
              </a:rPr>
              <a:t>category, price, size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24A8A3-772A-4DF6-8A51-ADD12C02E812}"/>
              </a:ext>
            </a:extLst>
          </p:cNvPr>
          <p:cNvSpPr/>
          <p:nvPr/>
        </p:nvSpPr>
        <p:spPr>
          <a:xfrm>
            <a:off x="4378106" y="2852194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hich category has most apps in the store?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How about their price and size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B14F11-659C-4403-8FE6-E8075D03A0F5}"/>
              </a:ext>
            </a:extLst>
          </p:cNvPr>
          <p:cNvSpPr/>
          <p:nvPr/>
        </p:nvSpPr>
        <p:spPr>
          <a:xfrm>
            <a:off x="974506" y="4559928"/>
            <a:ext cx="34036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re they related to each other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DFEEC1-7EAB-49BC-968A-EA71BCC00E0F}"/>
              </a:ext>
            </a:extLst>
          </p:cNvPr>
          <p:cNvSpPr/>
          <p:nvPr/>
        </p:nvSpPr>
        <p:spPr>
          <a:xfrm>
            <a:off x="4393725" y="4559928"/>
            <a:ext cx="3403600" cy="15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Does the number of  installs is affected by price, size, rating and re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040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lide5" descr="Story 13">
            <a:extLst>
              <a:ext uri="{FF2B5EF4-FFF2-40B4-BE49-F238E27FC236}">
                <a16:creationId xmlns:a16="http://schemas.microsoft.com/office/drawing/2014/main" id="{BC10E527-8D63-4B62-B35D-D2D6AFE900B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69" t="18510" r="3104" b="20313"/>
          <a:stretch/>
        </p:blipFill>
        <p:spPr>
          <a:xfrm>
            <a:off x="5100611" y="1080571"/>
            <a:ext cx="3887278" cy="40315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47DD370-6D06-458F-981D-4BC30173D43A}"/>
              </a:ext>
            </a:extLst>
          </p:cNvPr>
          <p:cNvSpPr/>
          <p:nvPr/>
        </p:nvSpPr>
        <p:spPr>
          <a:xfrm>
            <a:off x="162710" y="151533"/>
            <a:ext cx="8442381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900" b="1" dirty="0">
                <a:solidFill>
                  <a:schemeClr val="dk1"/>
                </a:solidFill>
              </a:rPr>
              <a:t> </a:t>
            </a:r>
          </a:p>
        </p:txBody>
      </p:sp>
      <p:pic>
        <p:nvPicPr>
          <p:cNvPr id="4" name="slide5" descr="Story 13">
            <a:extLst>
              <a:ext uri="{FF2B5EF4-FFF2-40B4-BE49-F238E27FC236}">
                <a16:creationId xmlns:a16="http://schemas.microsoft.com/office/drawing/2014/main" id="{C8786EA8-82D2-46DB-AACF-170F9748740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2" t="18510" r="55536" b="20313"/>
          <a:stretch/>
        </p:blipFill>
        <p:spPr>
          <a:xfrm>
            <a:off x="80801" y="1280761"/>
            <a:ext cx="3560790" cy="40315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8E40888-9121-46FE-B54C-60A458EF982C}"/>
              </a:ext>
            </a:extLst>
          </p:cNvPr>
          <p:cNvSpPr/>
          <p:nvPr/>
        </p:nvSpPr>
        <p:spPr>
          <a:xfrm>
            <a:off x="664815" y="126432"/>
            <a:ext cx="74381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dk1"/>
                </a:solidFill>
              </a:rPr>
              <a:t>Most installed and rated apps in google play app store. They are totally different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84350C-5229-4D93-A8FE-B216D9829EAB}"/>
              </a:ext>
            </a:extLst>
          </p:cNvPr>
          <p:cNvSpPr txBox="1"/>
          <p:nvPr/>
        </p:nvSpPr>
        <p:spPr>
          <a:xfrm>
            <a:off x="2162806" y="6137638"/>
            <a:ext cx="4206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Kaggle Google Play Store Apps datashee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82FE15-A3C3-40A3-9526-C919AB3A855C}"/>
              </a:ext>
            </a:extLst>
          </p:cNvPr>
          <p:cNvSpPr txBox="1"/>
          <p:nvPr/>
        </p:nvSpPr>
        <p:spPr>
          <a:xfrm>
            <a:off x="4162119" y="2643967"/>
            <a:ext cx="7167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Arial Black" panose="020B0A04020102020204" pitchFamily="34" charset="0"/>
              </a:rPr>
              <a:t>!=</a:t>
            </a:r>
          </a:p>
        </p:txBody>
      </p:sp>
      <p:sp>
        <p:nvSpPr>
          <p:cNvPr id="9" name="Arrow: Left-Right 8">
            <a:extLst>
              <a:ext uri="{FF2B5EF4-FFF2-40B4-BE49-F238E27FC236}">
                <a16:creationId xmlns:a16="http://schemas.microsoft.com/office/drawing/2014/main" id="{265044CE-0D17-452E-93D9-D9EBF2829826}"/>
              </a:ext>
            </a:extLst>
          </p:cNvPr>
          <p:cNvSpPr/>
          <p:nvPr/>
        </p:nvSpPr>
        <p:spPr>
          <a:xfrm>
            <a:off x="3641591" y="2458966"/>
            <a:ext cx="1678258" cy="901771"/>
          </a:xfrm>
          <a:prstGeom prst="leftRightArrow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250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de2" descr="Story 16">
            <a:extLst>
              <a:ext uri="{FF2B5EF4-FFF2-40B4-BE49-F238E27FC236}">
                <a16:creationId xmlns:a16="http://schemas.microsoft.com/office/drawing/2014/main" id="{704FF63F-E82C-411C-A52E-B32A1B321A2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50" t="36603" r="14926" b="13928"/>
          <a:stretch/>
        </p:blipFill>
        <p:spPr>
          <a:xfrm>
            <a:off x="188141" y="1253179"/>
            <a:ext cx="3686507" cy="280043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EE283A7-FF0E-46EA-BEFD-E2BDEBD2E5AC}"/>
              </a:ext>
            </a:extLst>
          </p:cNvPr>
          <p:cNvSpPr txBox="1"/>
          <p:nvPr/>
        </p:nvSpPr>
        <p:spPr>
          <a:xfrm>
            <a:off x="2140772" y="6291874"/>
            <a:ext cx="4206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Kaggle Google Play Store Apps datashe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6E9404-C717-4CBA-BC7D-4AF9088494E6}"/>
              </a:ext>
            </a:extLst>
          </p:cNvPr>
          <p:cNvSpPr/>
          <p:nvPr/>
        </p:nvSpPr>
        <p:spPr>
          <a:xfrm>
            <a:off x="400873" y="131609"/>
            <a:ext cx="81596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dk1"/>
                </a:solidFill>
              </a:rPr>
              <a:t>Which category has most apps or installs in the store?</a:t>
            </a:r>
          </a:p>
          <a:p>
            <a:r>
              <a:rPr lang="en-US" sz="2000" b="1" dirty="0">
                <a:solidFill>
                  <a:schemeClr val="dk1"/>
                </a:solidFill>
              </a:rPr>
              <a:t>How about their price and size</a:t>
            </a:r>
            <a:r>
              <a:rPr lang="en-US" sz="2000" b="1" dirty="0">
                <a:solidFill>
                  <a:schemeClr val="tx1"/>
                </a:solidFill>
              </a:rPr>
              <a:t>?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slide3" descr="Story 11">
            <a:extLst>
              <a:ext uri="{FF2B5EF4-FFF2-40B4-BE49-F238E27FC236}">
                <a16:creationId xmlns:a16="http://schemas.microsoft.com/office/drawing/2014/main" id="{F596E2E0-0FA7-4C06-84FE-DB941468818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" t="22611" r="34837" b="4369"/>
          <a:stretch/>
        </p:blipFill>
        <p:spPr>
          <a:xfrm>
            <a:off x="3871817" y="1057419"/>
            <a:ext cx="4951112" cy="472053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94C4083-9639-4F64-A1E9-CBD2ECCBD591}"/>
              </a:ext>
            </a:extLst>
          </p:cNvPr>
          <p:cNvSpPr/>
          <p:nvPr/>
        </p:nvSpPr>
        <p:spPr>
          <a:xfrm>
            <a:off x="4293704" y="1152939"/>
            <a:ext cx="4529225" cy="20048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DDEFC3-F837-48CD-889D-B2584C6EA9D7}"/>
              </a:ext>
            </a:extLst>
          </p:cNvPr>
          <p:cNvSpPr/>
          <p:nvPr/>
        </p:nvSpPr>
        <p:spPr>
          <a:xfrm>
            <a:off x="4244072" y="2732858"/>
            <a:ext cx="4529225" cy="20048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1933C8-6897-42F8-8407-66536D79E5BF}"/>
              </a:ext>
            </a:extLst>
          </p:cNvPr>
          <p:cNvSpPr/>
          <p:nvPr/>
        </p:nvSpPr>
        <p:spPr>
          <a:xfrm>
            <a:off x="188141" y="3987762"/>
            <a:ext cx="392003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Key insights:</a:t>
            </a:r>
          </a:p>
          <a:p>
            <a:pPr marL="342900" indent="-342900">
              <a:buAutoNum type="arabicPeriod"/>
            </a:pPr>
            <a:r>
              <a:rPr lang="en-US" dirty="0"/>
              <a:t>Communication apps has highest average installs  red box), whole family category has most apps in store  (blue box) . </a:t>
            </a:r>
          </a:p>
          <a:p>
            <a:pPr marL="342900" indent="-342900">
              <a:buAutoNum type="arabicPeriod"/>
            </a:pPr>
            <a:r>
              <a:rPr lang="en-US" dirty="0"/>
              <a:t>Most of them are free apps.</a:t>
            </a:r>
          </a:p>
          <a:p>
            <a:pPr marL="342900" indent="-342900">
              <a:buAutoNum type="arabicPeriod"/>
            </a:pPr>
            <a:r>
              <a:rPr lang="en-US" dirty="0"/>
              <a:t>Family apps have equal size (&lt;50M), while paid communication apps have big size (&gt;100M).</a:t>
            </a:r>
          </a:p>
        </p:txBody>
      </p:sp>
    </p:spTree>
    <p:extLst>
      <p:ext uri="{BB962C8B-B14F-4D97-AF65-F5344CB8AC3E}">
        <p14:creationId xmlns:p14="http://schemas.microsoft.com/office/powerpoint/2010/main" val="2847456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de4" descr="Story 12">
            <a:extLst>
              <a:ext uri="{FF2B5EF4-FFF2-40B4-BE49-F238E27FC236}">
                <a16:creationId xmlns:a16="http://schemas.microsoft.com/office/drawing/2014/main" id="{95AA3693-6096-40EB-AF80-6F49CDAD7F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t="20392" r="4211" b="1991"/>
          <a:stretch/>
        </p:blipFill>
        <p:spPr>
          <a:xfrm>
            <a:off x="408949" y="1002275"/>
            <a:ext cx="8143540" cy="53229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740AA4-7F36-4AFF-A389-C28132E11A23}"/>
              </a:ext>
            </a:extLst>
          </p:cNvPr>
          <p:cNvSpPr txBox="1"/>
          <p:nvPr/>
        </p:nvSpPr>
        <p:spPr>
          <a:xfrm>
            <a:off x="2140772" y="6291874"/>
            <a:ext cx="4206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Kaggle Google Play Store Apps datashe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1C2DFD-2DAA-4094-AC79-B6E797AD486E}"/>
              </a:ext>
            </a:extLst>
          </p:cNvPr>
          <p:cNvSpPr/>
          <p:nvPr/>
        </p:nvSpPr>
        <p:spPr>
          <a:xfrm>
            <a:off x="400873" y="131609"/>
            <a:ext cx="81596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dk1"/>
                </a:solidFill>
              </a:rPr>
              <a:t>Except price, size, reviews and ratings are positively related to apps install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506974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8</TotalTime>
  <Words>223</Words>
  <Application>Microsoft Office PowerPoint</Application>
  <PresentationFormat>Custom</PresentationFormat>
  <Paragraphs>28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Arial Black</vt:lpstr>
      <vt:lpstr>Synergy_CF_YNR002</vt:lpstr>
      <vt:lpstr>TCLayout.ActiveDocument.1</vt:lpstr>
      <vt:lpstr>Google Play Apps Analysis-  Non-Technical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Windows User</cp:lastModifiedBy>
  <cp:revision>63</cp:revision>
  <dcterms:created xsi:type="dcterms:W3CDTF">2015-09-14T11:37:31Z</dcterms:created>
  <dcterms:modified xsi:type="dcterms:W3CDTF">2021-01-23T05:4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